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F6F6F6"/>
    <a:srgbClr val="5A5A5A"/>
    <a:srgbClr val="8D8D8D"/>
    <a:srgbClr val="C60018"/>
    <a:srgbClr val="444444"/>
    <a:srgbClr val="E5E5E5"/>
    <a:srgbClr val="A8A8A8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Weigel Stefan (PAR-EPS)" userId="fd3b2067-2981-4ad8-bf3a-d2e1004e4fa8" providerId="ADAL" clId="{9BAF6AE0-CA22-4CA8-87C5-C6D1CAC8831C}"/>
    <pc:docChg chg="modSld">
      <pc:chgData name="Weigel Stefan (PAR-EPS)" userId="fd3b2067-2981-4ad8-bf3a-d2e1004e4fa8" providerId="ADAL" clId="{9BAF6AE0-CA22-4CA8-87C5-C6D1CAC8831C}" dt="2024-02-16T10:54:02.263" v="9" actId="790"/>
      <pc:docMkLst>
        <pc:docMk/>
      </pc:docMkLst>
      <pc:sldChg chg="modSp mod">
        <pc:chgData name="Weigel Stefan (PAR-EPS)" userId="fd3b2067-2981-4ad8-bf3a-d2e1004e4fa8" providerId="ADAL" clId="{9BAF6AE0-CA22-4CA8-87C5-C6D1CAC8831C}" dt="2024-02-16T10:54:02.263" v="9" actId="790"/>
        <pc:sldMkLst>
          <pc:docMk/>
          <pc:sldMk cId="2820921500" sldId="408"/>
        </pc:sldMkLst>
        <pc:spChg chg="mod">
          <ac:chgData name="Weigel Stefan (PAR-EPS)" userId="fd3b2067-2981-4ad8-bf3a-d2e1004e4fa8" providerId="ADAL" clId="{9BAF6AE0-CA22-4CA8-87C5-C6D1CAC8831C}" dt="2024-02-16T10:54:02.263" v="9" actId="790"/>
          <ac:spMkLst>
            <pc:docMk/>
            <pc:sldMk cId="2820921500" sldId="408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F62F3E69-D638-4F8A-BAB4-2FB5C3CCF3FC}"/>
    <pc:docChg chg="modSld">
      <pc:chgData name="Meyer Raphael (PAR-ES)" userId="79615dfe-ed48-4e74-a40f-4f7b034c1c27" providerId="ADAL" clId="{F62F3E69-D638-4F8A-BAB4-2FB5C3CCF3FC}" dt="2023-03-08T08:22:57.955" v="13" actId="27918"/>
      <pc:docMkLst>
        <pc:docMk/>
      </pc:docMkLst>
      <pc:sldChg chg="mod">
        <pc:chgData name="Meyer Raphael (PAR-ES)" userId="79615dfe-ed48-4e74-a40f-4f7b034c1c27" providerId="ADAL" clId="{F62F3E69-D638-4F8A-BAB4-2FB5C3CCF3FC}" dt="2023-03-08T08:22:57.955" v="13" actId="27918"/>
        <pc:sldMkLst>
          <pc:docMk/>
          <pc:sldMk cId="2820921500" sldId="408"/>
        </pc:sldMkLst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73B880B6-6E4F-46A1-AB79-A84327C1B858}"/>
    <pc:docChg chg="modSld">
      <pc:chgData name="Weigel Stefan (PAR-EPS)" userId="fd3b2067-2981-4ad8-bf3a-d2e1004e4fa8" providerId="ADAL" clId="{73B880B6-6E4F-46A1-AB79-A84327C1B858}" dt="2025-02-22T13:37:42.420" v="2" actId="27918"/>
      <pc:docMkLst>
        <pc:docMk/>
      </pc:docMkLst>
      <pc:sldChg chg="mod">
        <pc:chgData name="Weigel Stefan (PAR-EPS)" userId="fd3b2067-2981-4ad8-bf3a-d2e1004e4fa8" providerId="ADAL" clId="{73B880B6-6E4F-46A1-AB79-A84327C1B858}" dt="2025-02-22T13:37:42.420" v="2" actId="27918"/>
        <pc:sldMkLst>
          <pc:docMk/>
          <pc:sldMk cId="2820921500" sldId="408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F3BE5902-E8F4-44A5-BB8B-A91043809E6E}"/>
    <pc:docChg chg="modSld">
      <pc:chgData name="Weigel Stefan (PAR-EPS)" userId="fd3b2067-2981-4ad8-bf3a-d2e1004e4fa8" providerId="ADAL" clId="{F3BE5902-E8F4-44A5-BB8B-A91043809E6E}" dt="2024-04-22T09:18:05.356" v="39" actId="1036"/>
      <pc:docMkLst>
        <pc:docMk/>
      </pc:docMkLst>
      <pc:sldChg chg="modSp mod setBg">
        <pc:chgData name="Weigel Stefan (PAR-EPS)" userId="fd3b2067-2981-4ad8-bf3a-d2e1004e4fa8" providerId="ADAL" clId="{F3BE5902-E8F4-44A5-BB8B-A91043809E6E}" dt="2024-04-22T09:18:05.356" v="39" actId="1036"/>
        <pc:sldMkLst>
          <pc:docMk/>
          <pc:sldMk cId="2820921500" sldId="408"/>
        </pc:sldMkLst>
        <pc:spChg chg="mod">
          <ac:chgData name="Weigel Stefan (PAR-EPS)" userId="fd3b2067-2981-4ad8-bf3a-d2e1004e4fa8" providerId="ADAL" clId="{F3BE5902-E8F4-44A5-BB8B-A91043809E6E}" dt="2024-04-22T09:18:05.356" v="39" actId="1036"/>
          <ac:spMkLst>
            <pc:docMk/>
            <pc:sldMk cId="2820921500" sldId="408"/>
            <ac:spMk id="7" creationId="{586F29B4-427F-4C02-96A8-38F75F539446}"/>
          </ac:spMkLst>
        </pc:spChg>
        <pc:graphicFrameChg chg="mod">
          <ac:chgData name="Weigel Stefan (PAR-EPS)" userId="fd3b2067-2981-4ad8-bf3a-d2e1004e4fa8" providerId="ADAL" clId="{F3BE5902-E8F4-44A5-BB8B-A91043809E6E}" dt="2024-04-22T09:17:54.081" v="15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Weigel Stefan (PAR-EPS)" userId="fd3b2067-2981-4ad8-bf3a-d2e1004e4fa8" providerId="ADAL" clId="{C1AF9310-36A8-456C-89D4-051DE09B39F8}"/>
    <pc:docChg chg="modSld">
      <pc:chgData name="Weigel Stefan (PAR-EPS)" userId="fd3b2067-2981-4ad8-bf3a-d2e1004e4fa8" providerId="ADAL" clId="{C1AF9310-36A8-456C-89D4-051DE09B39F8}" dt="2024-02-16T10:50:06.283" v="31" actId="27918"/>
      <pc:docMkLst>
        <pc:docMk/>
      </pc:docMkLst>
      <pc:sldChg chg="mod">
        <pc:chgData name="Weigel Stefan (PAR-EPS)" userId="fd3b2067-2981-4ad8-bf3a-d2e1004e4fa8" providerId="ADAL" clId="{C1AF9310-36A8-456C-89D4-051DE09B39F8}" dt="2024-02-16T10:50:06.283" v="31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65600648848332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rois et buttes antibruit (longueur de construction e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45.35845210000002</c:v>
                </c:pt>
                <c:pt idx="1">
                  <c:v>368.13877209999998</c:v>
                </c:pt>
                <c:pt idx="2">
                  <c:v>383.05045860000001</c:v>
                </c:pt>
                <c:pt idx="3">
                  <c:v>390.82165859999998</c:v>
                </c:pt>
                <c:pt idx="4">
                  <c:v>402.5056586</c:v>
                </c:pt>
                <c:pt idx="5">
                  <c:v>403.75584859999998</c:v>
                </c:pt>
                <c:pt idx="6">
                  <c:v>412.27625444639398</c:v>
                </c:pt>
                <c:pt idx="7">
                  <c:v>416.74980696325702</c:v>
                </c:pt>
                <c:pt idx="8">
                  <c:v>421.91321236947499</c:v>
                </c:pt>
                <c:pt idx="9">
                  <c:v>425.01739751144299</c:v>
                </c:pt>
                <c:pt idx="10">
                  <c:v>427.20855083109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Wagons de CFF Cargo SA équipés de freins antibruit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</c:formatCode>
                <c:ptCount val="11"/>
                <c:pt idx="0">
                  <c:v>91.607981220657294</c:v>
                </c:pt>
                <c:pt idx="1">
                  <c:v>92.613812325797497</c:v>
                </c:pt>
                <c:pt idx="2">
                  <c:v>92.908876536971505</c:v>
                </c:pt>
                <c:pt idx="3">
                  <c:v>93.596059113300498</c:v>
                </c:pt>
                <c:pt idx="4">
                  <c:v>93.670172802404196</c:v>
                </c:pt>
                <c:pt idx="5">
                  <c:v>97.340214370782107</c:v>
                </c:pt>
                <c:pt idx="6">
                  <c:v>98.022199798183607</c:v>
                </c:pt>
                <c:pt idx="7">
                  <c:v>98.758295868122502</c:v>
                </c:pt>
                <c:pt idx="8">
                  <c:v>98.784458432819605</c:v>
                </c:pt>
                <c:pt idx="9">
                  <c:v>98.804780876493993</c:v>
                </c:pt>
                <c:pt idx="10">
                  <c:v>99.796747967479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Matériel roulant de CFF Voyageurs équipé de freins antibruit (%)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.0</c:formatCode>
                <c:ptCount val="11"/>
                <c:pt idx="0">
                  <c:v>96.932377966860699</c:v>
                </c:pt>
                <c:pt idx="1">
                  <c:v>97.156819191470504</c:v>
                </c:pt>
                <c:pt idx="2">
                  <c:v>97.557184099489206</c:v>
                </c:pt>
                <c:pt idx="3">
                  <c:v>97.597204019222403</c:v>
                </c:pt>
                <c:pt idx="4">
                  <c:v>97.674418604651194</c:v>
                </c:pt>
                <c:pt idx="5">
                  <c:v>97.846153846153896</c:v>
                </c:pt>
                <c:pt idx="6">
                  <c:v>97.984344422700602</c:v>
                </c:pt>
                <c:pt idx="7">
                  <c:v>98.285936891312801</c:v>
                </c:pt>
                <c:pt idx="8">
                  <c:v>98.458574181117498</c:v>
                </c:pt>
                <c:pt idx="9">
                  <c:v>98.553758325404402</c:v>
                </c:pt>
                <c:pt idx="10">
                  <c:v>98.598130841121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83453712526851842"/>
          <c:w val="0.59232821870397456"/>
          <c:h val="0.16266583430019896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1</cdr:x>
      <cdr:y>0.05035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-1881188"/>
          <a:ext cx="307849" cy="20112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km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/>
              <a:t>Protection contre le bruit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58638721"/>
              </p:ext>
            </p:extLst>
          </p:nvPr>
        </p:nvGraphicFramePr>
        <p:xfrm>
          <a:off x="1487487" y="1881188"/>
          <a:ext cx="9217025" cy="442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997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BC245D4-F3DF-4B10-A166-E678459F88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rotection contre le brui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ection contre le bruit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